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99" r:id="rId3"/>
    <p:sldId id="300" r:id="rId4"/>
    <p:sldId id="301" r:id="rId5"/>
    <p:sldId id="302" r:id="rId6"/>
    <p:sldId id="303" r:id="rId7"/>
    <p:sldId id="257" r:id="rId8"/>
    <p:sldId id="258" r:id="rId9"/>
    <p:sldId id="260" r:id="rId10"/>
    <p:sldId id="261" r:id="rId11"/>
    <p:sldId id="262" r:id="rId12"/>
    <p:sldId id="263" r:id="rId13"/>
    <p:sldId id="264" r:id="rId14"/>
    <p:sldId id="265" r:id="rId15"/>
    <p:sldId id="268" r:id="rId16"/>
    <p:sldId id="267" r:id="rId17"/>
    <p:sldId id="269" r:id="rId18"/>
    <p:sldId id="307" r:id="rId19"/>
    <p:sldId id="272" r:id="rId20"/>
    <p:sldId id="286" r:id="rId21"/>
    <p:sldId id="285" r:id="rId22"/>
    <p:sldId id="282" r:id="rId23"/>
    <p:sldId id="283" r:id="rId24"/>
    <p:sldId id="296" r:id="rId25"/>
    <p:sldId id="276" r:id="rId26"/>
    <p:sldId id="306" r:id="rId27"/>
    <p:sldId id="304" r:id="rId28"/>
    <p:sldId id="284" r:id="rId29"/>
    <p:sldId id="295" r:id="rId30"/>
    <p:sldId id="297" r:id="rId31"/>
    <p:sldId id="293" r:id="rId32"/>
    <p:sldId id="294" r:id="rId33"/>
    <p:sldId id="275" r:id="rId34"/>
    <p:sldId id="271" r:id="rId35"/>
    <p:sldId id="274" r:id="rId36"/>
    <p:sldId id="277" r:id="rId37"/>
    <p:sldId id="280" r:id="rId38"/>
    <p:sldId id="279" r:id="rId39"/>
    <p:sldId id="292" r:id="rId40"/>
    <p:sldId id="291" r:id="rId41"/>
    <p:sldId id="308" r:id="rId42"/>
    <p:sldId id="309" r:id="rId43"/>
    <p:sldId id="290" r:id="rId44"/>
    <p:sldId id="281" r:id="rId45"/>
    <p:sldId id="289" r:id="rId4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0000"/>
              </a:gs>
              <a:gs pos="47000">
                <a:srgbClr val="FF0000"/>
              </a:gs>
              <a:gs pos="84000">
                <a:schemeClr val="accent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médio de 10% 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0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6:45 -  Pratica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45 as 17:00 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rabalhando com Múltiplas planilhas</a:t>
            </a: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225675" y="754063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2</TotalTime>
  <Words>3168</Words>
  <Application>Microsoft Office PowerPoint</Application>
  <PresentationFormat>Widescreen</PresentationFormat>
  <Paragraphs>394</Paragraphs>
  <Slides>45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5</vt:i4>
      </vt:variant>
    </vt:vector>
  </HeadingPairs>
  <TitlesOfParts>
    <vt:vector size="50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25</cp:revision>
  <dcterms:created xsi:type="dcterms:W3CDTF">2018-08-19T15:50:37Z</dcterms:created>
  <dcterms:modified xsi:type="dcterms:W3CDTF">2018-10-19T21:51:28Z</dcterms:modified>
</cp:coreProperties>
</file>